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72" autoAdjust="0"/>
    <p:restoredTop sz="94660"/>
  </p:normalViewPr>
  <p:slideViewPr>
    <p:cSldViewPr snapToGrid="0" showGuides="1">
      <p:cViewPr varScale="1">
        <p:scale>
          <a:sx n="70" d="100"/>
          <a:sy n="70" d="100"/>
        </p:scale>
        <p:origin x="1094" y="53"/>
      </p:cViewPr>
      <p:guideLst>
        <p:guide orient="horz" pos="211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9F59780-710B-FDF6-4885-87BD314221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8E9537EE-8CD3-813B-2E86-B7253EEE0D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B14FC62-DD12-AD44-DF0A-90B6A47966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FB739-76E9-4013-AD3B-04F0E6A13657}" type="datetimeFigureOut">
              <a:rPr lang="ko-KR" altLang="en-US" smtClean="0"/>
              <a:t>2025-06-0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1844AD1-12E4-5A2D-2D39-31578F6890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D61E63F0-9BB1-5480-A0BB-8457B999A5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45B47-77B3-495F-9797-E57A1572404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568026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89CB7A4-A329-A9CD-781C-08FDA5AF94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CAEB7016-4A69-442F-162D-CEB751C9AF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5EE5C23-41F0-7025-272C-7FDEFA1830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FB739-76E9-4013-AD3B-04F0E6A13657}" type="datetimeFigureOut">
              <a:rPr lang="ko-KR" altLang="en-US" smtClean="0"/>
              <a:t>2025-06-0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DB9208C-1B80-FD49-15DB-A82141A7A3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1D5325E-E13D-4C36-8DF9-8A3460598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45B47-77B3-495F-9797-E57A1572404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306496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69048CB2-8F36-FA50-29B3-FC053196B43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BC28321-2783-60B8-BEFD-62BE9650FA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D7B0A57-A03B-F97C-FB84-9EC5480AA6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FB739-76E9-4013-AD3B-04F0E6A13657}" type="datetimeFigureOut">
              <a:rPr lang="ko-KR" altLang="en-US" smtClean="0"/>
              <a:t>2025-06-0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C59E86F-8DBD-9C14-0F00-1AEBEB3CA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2CFA79D6-96D3-4BCF-9AEE-344BE86E30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45B47-77B3-495F-9797-E57A1572404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874629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931EF65-5DAE-4556-70CC-B2497F337E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9163FC6-64CD-8D95-BF2C-F5253AF87D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D3B0C8F-F8E8-B67E-649D-3EDD462086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FB739-76E9-4013-AD3B-04F0E6A13657}" type="datetimeFigureOut">
              <a:rPr lang="ko-KR" altLang="en-US" smtClean="0"/>
              <a:t>2025-06-0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25A64541-F383-A062-B757-52E9675856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3A4F5E7-67B5-2D6D-6FA6-7D38777497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45B47-77B3-495F-9797-E57A1572404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930059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A02D9A7-03FF-60EC-280C-7F0CA6D1E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B82E87A3-BF5D-2384-8DCA-4BB96A40C2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72523C8-8F94-D1BF-9159-A5B502FB8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FB739-76E9-4013-AD3B-04F0E6A13657}" type="datetimeFigureOut">
              <a:rPr lang="ko-KR" altLang="en-US" smtClean="0"/>
              <a:t>2025-06-0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70D6664-162E-09B9-55A4-67129E3D0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36E0951-396E-E157-DDE7-05E70BA2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45B47-77B3-495F-9797-E57A1572404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47804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47E8D4A-E295-9125-3151-2BC86EFE31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C978AA0-09DC-7F02-A98C-7EE96F34A8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60FED678-7D07-F342-51FE-D4FED4FFE9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DC41131-28AD-16B3-BFF5-CACD79C8D0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FB739-76E9-4013-AD3B-04F0E6A13657}" type="datetimeFigureOut">
              <a:rPr lang="ko-KR" altLang="en-US" smtClean="0"/>
              <a:t>2025-06-07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1630378-4662-36C9-C9D7-0491F5AC64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06217F27-671A-EC37-92F6-0B2F0EB487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45B47-77B3-495F-9797-E57A1572404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506324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985384F-FA58-8AB9-17A6-9013982210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E290DD4-C65B-F796-208C-590DEDDCAA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16C95EFF-837D-F146-AD2E-D67DFB6B6F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89C2F43D-8FB4-26DF-0C66-B6F6F4F88BD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096ACE45-C680-2AEC-7589-E858FC1B092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A0527F56-E398-8D6B-386C-CDE0778776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FB739-76E9-4013-AD3B-04F0E6A13657}" type="datetimeFigureOut">
              <a:rPr lang="ko-KR" altLang="en-US" smtClean="0"/>
              <a:t>2025-06-07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5143B20D-C09C-EB24-4C7C-308E4A0EBB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236E3EF4-2C61-7A8D-B04F-6B7F7A5EE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45B47-77B3-495F-9797-E57A1572404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143503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E96C5C9-B55C-4CA1-9A23-30A4CE559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21F370AD-DB9B-B81D-7736-10A17DCCC5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FB739-76E9-4013-AD3B-04F0E6A13657}" type="datetimeFigureOut">
              <a:rPr lang="ko-KR" altLang="en-US" smtClean="0"/>
              <a:t>2025-06-07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2BE85D9C-2696-20B1-4F98-D0DFAE674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85553CF5-F498-BDFA-DA6E-C7C6B8061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45B47-77B3-495F-9797-E57A1572404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083934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246E1313-DC09-D04F-FC3D-CFE4B43E2A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FB739-76E9-4013-AD3B-04F0E6A13657}" type="datetimeFigureOut">
              <a:rPr lang="ko-KR" altLang="en-US" smtClean="0"/>
              <a:t>2025-06-07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D22A7CA7-566E-5340-E5C4-05A76F497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DB10DBD-ED0E-12FE-7917-C9A96D0BC2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45B47-77B3-495F-9797-E57A1572404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4967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ADE8F62-7C66-3624-FA81-943F80FC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92F72BD-5B86-2931-FFD3-4B61EC903D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977E3F4-561E-5B8D-357E-953F9EEEC7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2B5E3876-87BF-B95E-3B72-635459256C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FB739-76E9-4013-AD3B-04F0E6A13657}" type="datetimeFigureOut">
              <a:rPr lang="ko-KR" altLang="en-US" smtClean="0"/>
              <a:t>2025-06-07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D1A06954-A2AF-0233-45CD-DC17BF79E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5C047C13-F4F6-A417-D121-94414A108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45B47-77B3-495F-9797-E57A1572404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072573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2838ACD-3B86-A622-7CC6-437FA5710E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429F19D5-5E3D-A077-A1E1-D7291DB0D7D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56D44757-09AE-E947-2B6F-961A1D29E4B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F4B5EF8-50B4-07A1-A390-D496BA327F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FB739-76E9-4013-AD3B-04F0E6A13657}" type="datetimeFigureOut">
              <a:rPr lang="ko-KR" altLang="en-US" smtClean="0"/>
              <a:t>2025-06-07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D348D0D-BBA8-2692-1A22-68A5AE03A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13D0F17-6069-75A1-6EC8-2A7452F2B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45B47-77B3-495F-9797-E57A1572404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58002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32D7E36-318F-3AB9-941D-6BB9545A08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70016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슬라이드" r:id="rId14" imgW="425" imgH="424" progId="TCLayout.ActiveDocument.1">
                  <p:embed/>
                </p:oleObj>
              </mc:Choice>
              <mc:Fallback>
                <p:oleObj name="think-cell 슬라이드" r:id="rId1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3CEF569A-1D52-B056-8F7F-80F78C8E84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5F7819E-FB5F-C489-A542-3315F2A704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F749FD3-C69F-08E3-E4D0-0FD8FD940C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09FB739-76E9-4013-AD3B-04F0E6A13657}" type="datetimeFigureOut">
              <a:rPr lang="ko-KR" altLang="en-US" smtClean="0"/>
              <a:t>2025-06-0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D573000-730C-6E15-C6AB-4B0CBFCEE1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281F1716-8E1C-0363-15E8-0FCB0B253D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D145B47-77B3-495F-9797-E57A1572404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65166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1.emf"/><Relationship Id="rId9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12CBFCF-CD0D-510F-78D0-0DBA2408A9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3432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슬라이드" r:id="rId3" imgW="425" imgH="424" progId="TCLayout.ActiveDocument.1">
                  <p:embed/>
                </p:oleObj>
              </mc:Choice>
              <mc:Fallback>
                <p:oleObj name="think-cell 슬라이드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타원 4">
            <a:extLst>
              <a:ext uri="{FF2B5EF4-FFF2-40B4-BE49-F238E27FC236}">
                <a16:creationId xmlns:a16="http://schemas.microsoft.com/office/drawing/2014/main" id="{30723095-1C76-87EF-1D85-8078DF7220FF}"/>
              </a:ext>
            </a:extLst>
          </p:cNvPr>
          <p:cNvSpPr/>
          <p:nvPr/>
        </p:nvSpPr>
        <p:spPr>
          <a:xfrm>
            <a:off x="1864659" y="1075764"/>
            <a:ext cx="1864659" cy="1613648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/>
              <a:t>모바일 티켓 서비스 회사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73644A1-75C1-C1CB-AC1D-0E49D682AE12}"/>
              </a:ext>
            </a:extLst>
          </p:cNvPr>
          <p:cNvSpPr txBox="1"/>
          <p:nvPr/>
        </p:nvSpPr>
        <p:spPr>
          <a:xfrm>
            <a:off x="358589" y="315578"/>
            <a:ext cx="32093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이해관계자 설정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F08322F6-7C97-6FB0-6072-6F6FD2666D0C}"/>
              </a:ext>
            </a:extLst>
          </p:cNvPr>
          <p:cNvCxnSpPr>
            <a:cxnSpLocks/>
          </p:cNvCxnSpPr>
          <p:nvPr/>
        </p:nvCxnSpPr>
        <p:spPr>
          <a:xfrm flipV="1">
            <a:off x="4658990" y="1349829"/>
            <a:ext cx="2536467" cy="255619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직선 연결선 13">
            <a:extLst>
              <a:ext uri="{FF2B5EF4-FFF2-40B4-BE49-F238E27FC236}">
                <a16:creationId xmlns:a16="http://schemas.microsoft.com/office/drawing/2014/main" id="{A3AE9F62-4AA4-039D-64B0-9D1791760E16}"/>
              </a:ext>
            </a:extLst>
          </p:cNvPr>
          <p:cNvCxnSpPr>
            <a:cxnSpLocks/>
          </p:cNvCxnSpPr>
          <p:nvPr/>
        </p:nvCxnSpPr>
        <p:spPr>
          <a:xfrm>
            <a:off x="4740876" y="5108644"/>
            <a:ext cx="3200400" cy="77736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1C7CB08F-A283-E4E4-5930-A2D5E5139108}"/>
              </a:ext>
            </a:extLst>
          </p:cNvPr>
          <p:cNvSpPr/>
          <p:nvPr/>
        </p:nvSpPr>
        <p:spPr>
          <a:xfrm>
            <a:off x="7664335" y="2202313"/>
            <a:ext cx="4330441" cy="401821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ko-KR" altLang="en-US" dirty="0"/>
              <a:t>협업 구단</a:t>
            </a:r>
            <a:r>
              <a:rPr lang="en-US" altLang="ko-KR" dirty="0"/>
              <a:t>: </a:t>
            </a:r>
            <a:r>
              <a:rPr lang="ko-KR" altLang="en-US" dirty="0"/>
              <a:t>두산</a:t>
            </a:r>
            <a:r>
              <a:rPr lang="en-US" altLang="ko-KR" dirty="0"/>
              <a:t>,LG</a:t>
            </a:r>
            <a:r>
              <a:rPr lang="ko-KR" altLang="en-US" dirty="0"/>
              <a:t> </a:t>
            </a:r>
            <a:endParaRPr lang="en-US" altLang="ko-KR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algn="ctr"/>
            <a:endParaRPr lang="en-US" altLang="ko-KR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ko-KR" altLang="en-US" dirty="0"/>
              <a:t>협업 이유 및 기대효과</a:t>
            </a:r>
            <a:endParaRPr lang="en-US" altLang="ko-KR" dirty="0"/>
          </a:p>
          <a:p>
            <a:pPr marL="742950" lvl="1" indent="-285750" algn="ctr">
              <a:buFont typeface="Arial" panose="020B0604020202020204" pitchFamily="34" charset="0"/>
              <a:buChar char="•"/>
            </a:pPr>
            <a:r>
              <a:rPr lang="ko-KR" altLang="en-US" dirty="0"/>
              <a:t>서울 연고의 </a:t>
            </a:r>
            <a:r>
              <a:rPr lang="ko-KR" altLang="en-US" dirty="0" err="1"/>
              <a:t>인기팀</a:t>
            </a:r>
            <a:r>
              <a:rPr lang="ko-KR" altLang="en-US" dirty="0"/>
              <a:t> 선정을 인한 광고 및 홍보효과 극대화</a:t>
            </a:r>
            <a:endParaRPr lang="en-US" altLang="ko-KR" dirty="0"/>
          </a:p>
          <a:p>
            <a:pPr marL="742950" lvl="1" indent="-285750" algn="ctr">
              <a:buFont typeface="Arial" panose="020B0604020202020204" pitchFamily="34" charset="0"/>
              <a:buChar char="•"/>
            </a:pPr>
            <a:r>
              <a:rPr lang="ko-KR" altLang="en-US" dirty="0"/>
              <a:t>주변 오프라인 카페 인프라 활용 등의 연계성</a:t>
            </a:r>
            <a:endParaRPr lang="en-US" altLang="ko-KR" dirty="0"/>
          </a:p>
          <a:p>
            <a:pPr marL="742950" lvl="1" indent="-285750" algn="ctr">
              <a:buFont typeface="Arial" panose="020B0604020202020204" pitchFamily="34" charset="0"/>
              <a:buChar char="•"/>
            </a:pPr>
            <a:r>
              <a:rPr lang="ko-KR" altLang="en-US" dirty="0"/>
              <a:t>카페 홍보가 주가 아닌</a:t>
            </a:r>
            <a:r>
              <a:rPr lang="en-US" altLang="ko-KR" dirty="0"/>
              <a:t>, </a:t>
            </a:r>
            <a:r>
              <a:rPr lang="ko-KR" altLang="en-US" dirty="0"/>
              <a:t>모바일 티켓을 </a:t>
            </a:r>
            <a:r>
              <a:rPr lang="ko-KR" altLang="en-US" dirty="0" err="1"/>
              <a:t>매체로한</a:t>
            </a:r>
            <a:r>
              <a:rPr lang="ko-KR" altLang="en-US" dirty="0"/>
              <a:t> 이벤트 기획이기에 두 구단 동시 진행을 통한 효율성 증진 기대</a:t>
            </a:r>
            <a:endParaRPr lang="en-US" altLang="ko-KR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462721D-7CE8-D993-9612-231C94D84DBA}"/>
              </a:ext>
            </a:extLst>
          </p:cNvPr>
          <p:cNvSpPr txBox="1"/>
          <p:nvPr/>
        </p:nvSpPr>
        <p:spPr>
          <a:xfrm>
            <a:off x="197224" y="5380672"/>
            <a:ext cx="225910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젊은 </a:t>
            </a:r>
            <a:r>
              <a:rPr lang="ko-KR" altLang="en-US" dirty="0" err="1"/>
              <a:t>관중들에게</a:t>
            </a:r>
            <a:r>
              <a:rPr lang="ko-KR" altLang="en-US" dirty="0"/>
              <a:t> 인지도 있는 브랜드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 err="1"/>
              <a:t>굿즈</a:t>
            </a:r>
            <a:r>
              <a:rPr lang="ko-KR" altLang="en-US" dirty="0"/>
              <a:t> 제작 및 </a:t>
            </a:r>
            <a:r>
              <a:rPr lang="ko-KR" altLang="en-US" dirty="0" err="1"/>
              <a:t>콜라보</a:t>
            </a:r>
            <a:r>
              <a:rPr lang="ko-KR" altLang="en-US" dirty="0"/>
              <a:t> 친화 기업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B61AB6C-42C2-E754-3759-E403A6697A32}"/>
              </a:ext>
            </a:extLst>
          </p:cNvPr>
          <p:cNvSpPr txBox="1"/>
          <p:nvPr/>
        </p:nvSpPr>
        <p:spPr>
          <a:xfrm>
            <a:off x="3191435" y="5380672"/>
            <a:ext cx="22591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두산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/>
              <a:t>LG</a:t>
            </a:r>
            <a:endParaRPr lang="ko-KR" altLang="en-US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21C3B1AF-648D-FF98-D4B6-77B9D1ABE2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09760" y="478971"/>
            <a:ext cx="2155722" cy="1723342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D06ED0D8-01A5-8454-1ED8-34FC9BB58C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60406" y="-56824"/>
            <a:ext cx="2338388" cy="2338388"/>
          </a:xfrm>
          <a:prstGeom prst="rect">
            <a:avLst/>
          </a:prstGeom>
        </p:spPr>
      </p:pic>
      <p:pic>
        <p:nvPicPr>
          <p:cNvPr id="1038" name="Picture 14" descr="KBO - Google Play 앱">
            <a:extLst>
              <a:ext uri="{FF2B5EF4-FFF2-40B4-BE49-F238E27FC236}">
                <a16:creationId xmlns:a16="http://schemas.microsoft.com/office/drawing/2014/main" id="{952C92F9-EBBB-83F0-60FC-0A8D1A5345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7874" y="3756212"/>
            <a:ext cx="1741116" cy="1741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EDECADB0-2584-532A-CFCC-DF056B5CB76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7322" y="3756212"/>
            <a:ext cx="1524028" cy="1524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2389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01F77FF-3404-8D45-5A77-29BC438192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6070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슬라이드" r:id="rId3" imgW="425" imgH="424" progId="TCLayout.ActiveDocument.1">
                  <p:embed/>
                </p:oleObj>
              </mc:Choice>
              <mc:Fallback>
                <p:oleObj name="think-cell 슬라이드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85122EF8-9B87-052C-BAE8-B6D6835BD2BE}"/>
              </a:ext>
            </a:extLst>
          </p:cNvPr>
          <p:cNvSpPr txBox="1"/>
          <p:nvPr/>
        </p:nvSpPr>
        <p:spPr>
          <a:xfrm>
            <a:off x="358589" y="315578"/>
            <a:ext cx="32093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이벤트 진행과정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19BCB4-65DC-477F-BA2B-028DCC89BDA1}"/>
              </a:ext>
            </a:extLst>
          </p:cNvPr>
          <p:cNvSpPr txBox="1"/>
          <p:nvPr/>
        </p:nvSpPr>
        <p:spPr>
          <a:xfrm>
            <a:off x="7032567" y="5558612"/>
            <a:ext cx="4638502" cy="120032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ko-KR" dirty="0"/>
              <a:t>많은 </a:t>
            </a:r>
            <a:r>
              <a:rPr lang="ko-KR" altLang="ko-KR" dirty="0" err="1"/>
              <a:t>관중들에게</a:t>
            </a:r>
            <a:r>
              <a:rPr lang="ko-KR" altLang="ko-KR" dirty="0"/>
              <a:t> 대중적으로 인지도 높고 디자인 요소와 친화적이며, </a:t>
            </a:r>
            <a:r>
              <a:rPr lang="ko-KR" altLang="ko-KR" dirty="0" err="1"/>
              <a:t>MZ세대를</a:t>
            </a:r>
            <a:r>
              <a:rPr lang="ko-KR" altLang="ko-KR" dirty="0"/>
              <a:t> 타깃으로 한 이벤트 진행이 용이한 브랜드 우선 고려 가능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E54B8F-02E6-5AC6-4FFE-B5B8E71D432A}"/>
              </a:ext>
            </a:extLst>
          </p:cNvPr>
          <p:cNvSpPr txBox="1"/>
          <p:nvPr/>
        </p:nvSpPr>
        <p:spPr>
          <a:xfrm>
            <a:off x="7032567" y="2811599"/>
            <a:ext cx="4638502" cy="249299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sz="1200" dirty="0"/>
              <a:t>상품 구성</a:t>
            </a:r>
            <a:endParaRPr lang="en-US" altLang="ko-KR" sz="1200" dirty="0"/>
          </a:p>
          <a:p>
            <a:endParaRPr lang="en-US" altLang="ko-KR" sz="1200" dirty="0"/>
          </a:p>
          <a:p>
            <a:r>
              <a:rPr lang="en-US" altLang="ko-KR" sz="1200" dirty="0"/>
              <a:t>* </a:t>
            </a:r>
            <a:r>
              <a:rPr lang="ko-KR" altLang="ko-KR" sz="1200" dirty="0"/>
              <a:t>상품을 </a:t>
            </a:r>
            <a:r>
              <a:rPr lang="ko-KR" altLang="ko-KR" sz="1200" dirty="0" err="1"/>
              <a:t>쓰러면</a:t>
            </a:r>
            <a:r>
              <a:rPr lang="ko-KR" altLang="ko-KR" sz="1200" dirty="0"/>
              <a:t> 자체 앱(</a:t>
            </a:r>
            <a:r>
              <a:rPr lang="ko-KR" altLang="ko-KR" sz="1200" dirty="0" err="1"/>
              <a:t>투썸하트</a:t>
            </a:r>
            <a:r>
              <a:rPr lang="ko-KR" altLang="ko-KR" sz="1200" dirty="0"/>
              <a:t>)을 가입해야 할 수 있도록 장치를 마련</a:t>
            </a:r>
          </a:p>
          <a:p>
            <a:endParaRPr lang="en-US" altLang="ko-KR" sz="1200" dirty="0"/>
          </a:p>
          <a:p>
            <a:endParaRPr lang="en-US" altLang="ko-KR" sz="1200" dirty="0"/>
          </a:p>
          <a:p>
            <a:pPr lvl="0"/>
            <a:r>
              <a:rPr lang="ko-KR" altLang="ko-KR" sz="1200" dirty="0"/>
              <a:t>1등 10만원권 (5명)</a:t>
            </a:r>
          </a:p>
          <a:p>
            <a:pPr lvl="0"/>
            <a:r>
              <a:rPr lang="ko-KR" altLang="ko-KR" sz="1200" dirty="0"/>
              <a:t>2등 </a:t>
            </a:r>
            <a:r>
              <a:rPr lang="ko-KR" altLang="ko-KR" sz="1200" dirty="0" err="1"/>
              <a:t>투썸</a:t>
            </a:r>
            <a:r>
              <a:rPr lang="ko-KR" altLang="ko-KR" sz="1200" dirty="0"/>
              <a:t> 홀케이크 </a:t>
            </a:r>
            <a:r>
              <a:rPr lang="ko-KR" altLang="ko-KR" sz="1200" dirty="0" err="1"/>
              <a:t>기프티콘</a:t>
            </a:r>
            <a:r>
              <a:rPr lang="ko-KR" altLang="ko-KR" sz="1200" dirty="0"/>
              <a:t>  (10명)</a:t>
            </a:r>
          </a:p>
          <a:p>
            <a:pPr lvl="0"/>
            <a:r>
              <a:rPr lang="ko-KR" altLang="ko-KR" sz="1200" dirty="0"/>
              <a:t>3등 </a:t>
            </a:r>
            <a:r>
              <a:rPr lang="ko-KR" altLang="ko-KR" sz="1200" dirty="0" err="1"/>
              <a:t>투썸</a:t>
            </a:r>
            <a:r>
              <a:rPr lang="ko-KR" altLang="ko-KR" sz="1200" dirty="0"/>
              <a:t> 조각케이크 + 음료 </a:t>
            </a:r>
            <a:r>
              <a:rPr lang="ko-KR" altLang="ko-KR" sz="1200" dirty="0" err="1"/>
              <a:t>기프티콘</a:t>
            </a:r>
            <a:r>
              <a:rPr lang="ko-KR" altLang="ko-KR" sz="1200" dirty="0"/>
              <a:t> (20명)</a:t>
            </a:r>
          </a:p>
          <a:p>
            <a:pPr lvl="0"/>
            <a:r>
              <a:rPr lang="ko-KR" altLang="ko-KR" sz="1200" dirty="0"/>
              <a:t>4등 포토티켓(100명)</a:t>
            </a:r>
          </a:p>
          <a:p>
            <a:pPr lvl="0"/>
            <a:r>
              <a:rPr lang="ko-KR" altLang="ko-KR" sz="1200" dirty="0"/>
              <a:t>5등 </a:t>
            </a:r>
            <a:r>
              <a:rPr lang="ko-KR" altLang="ko-KR" sz="1200" dirty="0" err="1"/>
              <a:t>투썸하트</a:t>
            </a:r>
            <a:r>
              <a:rPr lang="ko-KR" altLang="ko-KR" sz="1200" dirty="0"/>
              <a:t> 3개 적립(300명)</a:t>
            </a:r>
          </a:p>
          <a:p>
            <a:pPr lvl="0"/>
            <a:r>
              <a:rPr lang="ko-KR" altLang="ko-KR" sz="1200" dirty="0"/>
              <a:t>꽝</a:t>
            </a:r>
          </a:p>
          <a:p>
            <a:endParaRPr lang="ko-KR" altLang="en-US" sz="1200" dirty="0"/>
          </a:p>
        </p:txBody>
      </p:sp>
      <p:pic>
        <p:nvPicPr>
          <p:cNvPr id="2050" name="Picture 2" descr="투썸 플레이스 커피 기프티콘으로 홀케이크 구매 (생일축하합니다) : 네이버 블로그">
            <a:extLst>
              <a:ext uri="{FF2B5EF4-FFF2-40B4-BE49-F238E27FC236}">
                <a16:creationId xmlns:a16="http://schemas.microsoft.com/office/drawing/2014/main" id="{899B9788-4579-D09D-9AC1-0D4B7D189A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" t="2882" r="24" b="36483"/>
          <a:stretch>
            <a:fillRect/>
          </a:stretch>
        </p:blipFill>
        <p:spPr bwMode="auto">
          <a:xfrm>
            <a:off x="6738670" y="184384"/>
            <a:ext cx="1885379" cy="2373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포토카드 이미지. 이미지_SK와이번스 제공">
            <a:extLst>
              <a:ext uri="{FF2B5EF4-FFF2-40B4-BE49-F238E27FC236}">
                <a16:creationId xmlns:a16="http://schemas.microsoft.com/office/drawing/2014/main" id="{AC4B3ECA-479E-5222-8032-B7C92396AE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5546" y="99059"/>
            <a:ext cx="1634067" cy="2543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투썸플레이스가&amp;nbsp;모바일 앱과 멤버십 제도를 전면 개편했다. [사진=투썸플레이스]">
            <a:extLst>
              <a:ext uri="{FF2B5EF4-FFF2-40B4-BE49-F238E27FC236}">
                <a16:creationId xmlns:a16="http://schemas.microsoft.com/office/drawing/2014/main" id="{227D4455-4224-49BE-BC99-05469DD508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08" t="22699" r="15933" b="20970"/>
          <a:stretch>
            <a:fillRect/>
          </a:stretch>
        </p:blipFill>
        <p:spPr bwMode="auto">
          <a:xfrm>
            <a:off x="10541110" y="237772"/>
            <a:ext cx="1438068" cy="2319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9310C4B-D01D-5AC7-0506-EF52A539B96E}"/>
              </a:ext>
            </a:extLst>
          </p:cNvPr>
          <p:cNvSpPr txBox="1"/>
          <p:nvPr/>
        </p:nvSpPr>
        <p:spPr>
          <a:xfrm>
            <a:off x="358589" y="5647449"/>
            <a:ext cx="5593324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dirty="0"/>
              <a:t>모바일에서의 이벤트 경험 구성을 주로 진행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ko-KR" altLang="en-US" dirty="0" err="1"/>
              <a:t>룰렛</a:t>
            </a:r>
            <a:r>
              <a:rPr lang="ko-KR" altLang="en-US" dirty="0"/>
              <a:t> 이벤트 </a:t>
            </a:r>
            <a:r>
              <a:rPr lang="en-US" altLang="ko-KR" dirty="0"/>
              <a:t>e.g. </a:t>
            </a:r>
            <a:r>
              <a:rPr lang="ko-KR" altLang="en-US" dirty="0"/>
              <a:t>토스 선착순 이벤트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ko-KR" altLang="en-US" dirty="0"/>
              <a:t>복잡하지 않고 단순한 이벤트를 통해 참여도 향상</a:t>
            </a:r>
          </a:p>
        </p:txBody>
      </p:sp>
      <p:pic>
        <p:nvPicPr>
          <p:cNvPr id="2058" name="Picture 10" descr="토스] 행운이 넘치는 룰렛 이벤트 &gt; 이벤트응모 - 슈퍼투데이 | 이벤트, 공모전 응모 정보">
            <a:extLst>
              <a:ext uri="{FF2B5EF4-FFF2-40B4-BE49-F238E27FC236}">
                <a16:creationId xmlns:a16="http://schemas.microsoft.com/office/drawing/2014/main" id="{6EECADA1-4584-50AE-1561-BEE9F1E1CD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589" y="807661"/>
            <a:ext cx="1433798" cy="1766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DC09C8E-0983-3238-34D3-B96261E6EF84}"/>
              </a:ext>
            </a:extLst>
          </p:cNvPr>
          <p:cNvSpPr txBox="1"/>
          <p:nvPr/>
        </p:nvSpPr>
        <p:spPr>
          <a:xfrm>
            <a:off x="2310938" y="1047404"/>
            <a:ext cx="2643447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ko-KR" altLang="en-US" dirty="0"/>
              <a:t>레퍼런스 </a:t>
            </a:r>
            <a:r>
              <a:rPr lang="en-US" altLang="ko-KR" dirty="0"/>
              <a:t>1</a:t>
            </a:r>
          </a:p>
          <a:p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토스 </a:t>
            </a:r>
            <a:r>
              <a:rPr lang="ko-KR" altLang="en-US" dirty="0" err="1">
                <a:sym typeface="Wingdings" panose="05000000000000000000" pitchFamily="2" charset="2"/>
              </a:rPr>
              <a:t>룰렛</a:t>
            </a:r>
            <a:r>
              <a:rPr lang="ko-KR" altLang="en-US" dirty="0">
                <a:sym typeface="Wingdings" panose="05000000000000000000" pitchFamily="2" charset="2"/>
              </a:rPr>
              <a:t> 이벤트</a:t>
            </a:r>
            <a:endParaRPr lang="en-US" altLang="ko-KR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6220CD8-356D-6D93-2E95-F06FF124766B}"/>
              </a:ext>
            </a:extLst>
          </p:cNvPr>
          <p:cNvSpPr txBox="1"/>
          <p:nvPr/>
        </p:nvSpPr>
        <p:spPr>
          <a:xfrm>
            <a:off x="2193768" y="2996265"/>
            <a:ext cx="3640975" cy="212365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200" dirty="0"/>
              <a:t>(</a:t>
            </a:r>
            <a:r>
              <a:rPr lang="ko-KR" altLang="en-US" sz="1200" dirty="0"/>
              <a:t>경품 </a:t>
            </a:r>
            <a:r>
              <a:rPr lang="en-US" altLang="ko-KR" sz="1200" dirty="0"/>
              <a:t>1) </a:t>
            </a:r>
            <a:r>
              <a:rPr lang="ko-KR" altLang="en-US" sz="1200" dirty="0"/>
              <a:t>현장이벤트</a:t>
            </a:r>
            <a:endParaRPr lang="en-US" altLang="ko-KR" sz="1200" dirty="0"/>
          </a:p>
          <a:p>
            <a:r>
              <a:rPr lang="ko-KR" altLang="en-US" sz="1200" dirty="0"/>
              <a:t>대상</a:t>
            </a:r>
            <a:r>
              <a:rPr lang="en-US" altLang="ko-KR" sz="1200" dirty="0"/>
              <a:t>: </a:t>
            </a:r>
            <a:r>
              <a:rPr lang="ko-KR" altLang="en-US" sz="1200" dirty="0"/>
              <a:t>모바일 티켓 </a:t>
            </a:r>
            <a:r>
              <a:rPr lang="ko-KR" altLang="en-US" sz="1200" dirty="0" err="1"/>
              <a:t>발권자</a:t>
            </a:r>
            <a:r>
              <a:rPr lang="ko-KR" altLang="en-US" sz="1200" dirty="0"/>
              <a:t> 대상</a:t>
            </a:r>
            <a:endParaRPr lang="en-US" altLang="ko-KR" sz="1200" dirty="0"/>
          </a:p>
          <a:p>
            <a:r>
              <a:rPr lang="en-US" altLang="ko-KR" sz="1200" dirty="0"/>
              <a:t>e.g. </a:t>
            </a:r>
            <a:r>
              <a:rPr lang="ko-KR" altLang="en-US" sz="1200" dirty="0"/>
              <a:t>한정판 티켓 및 별도 포토카드 부스</a:t>
            </a:r>
            <a:r>
              <a:rPr lang="en-US" altLang="ko-KR" sz="1200" dirty="0"/>
              <a:t>, </a:t>
            </a:r>
            <a:r>
              <a:rPr lang="ko-KR" altLang="en-US" sz="1200" dirty="0"/>
              <a:t>스페셜 에디션 티켓</a:t>
            </a:r>
            <a:endParaRPr lang="en-US" altLang="ko-KR" sz="1200" dirty="0"/>
          </a:p>
          <a:p>
            <a:pPr marL="285750" indent="-285750">
              <a:buFontTx/>
              <a:buChar char="-"/>
            </a:pPr>
            <a:r>
              <a:rPr lang="ko-KR" altLang="en-US" sz="1200" dirty="0"/>
              <a:t>야구선수와 카페 제품 연계 포토카드 제자</a:t>
            </a:r>
            <a:endParaRPr lang="en-US" altLang="ko-KR" sz="1200" dirty="0"/>
          </a:p>
          <a:p>
            <a:pPr marL="285750" indent="-285750">
              <a:buFontTx/>
              <a:buChar char="-"/>
            </a:pPr>
            <a:r>
              <a:rPr lang="ko-KR" altLang="en-US" sz="1200" dirty="0"/>
              <a:t>선수들 이모티콘 제작 후 배포</a:t>
            </a:r>
            <a:endParaRPr lang="en-US" altLang="ko-KR" sz="1200" dirty="0"/>
          </a:p>
          <a:p>
            <a:endParaRPr lang="en-US" altLang="ko-KR" sz="1200" dirty="0"/>
          </a:p>
          <a:p>
            <a:r>
              <a:rPr lang="en-US" altLang="ko-KR" sz="1200" dirty="0"/>
              <a:t>(</a:t>
            </a:r>
            <a:r>
              <a:rPr lang="ko-KR" altLang="en-US" sz="1200" dirty="0"/>
              <a:t>경품 </a:t>
            </a:r>
            <a:r>
              <a:rPr lang="en-US" altLang="ko-KR" sz="1200" dirty="0"/>
              <a:t>2) </a:t>
            </a:r>
            <a:r>
              <a:rPr lang="ko-KR" altLang="en-US" sz="1200" dirty="0" err="1"/>
              <a:t>기프티콘</a:t>
            </a:r>
            <a:r>
              <a:rPr lang="ko-KR" altLang="en-US" sz="1200" dirty="0"/>
              <a:t> 및 하트</a:t>
            </a:r>
            <a:endParaRPr lang="en-US" altLang="ko-KR" sz="1200" dirty="0"/>
          </a:p>
          <a:p>
            <a:endParaRPr lang="en-US" altLang="ko-KR" sz="1200" dirty="0"/>
          </a:p>
          <a:p>
            <a:r>
              <a:rPr lang="en-US" altLang="ko-KR" sz="1200" dirty="0"/>
              <a:t>* SNS </a:t>
            </a:r>
            <a:r>
              <a:rPr lang="ko-KR" altLang="en-US" sz="1200" dirty="0"/>
              <a:t>이벤트 연계를 통한 </a:t>
            </a:r>
            <a:r>
              <a:rPr lang="ko-KR" altLang="en-US" sz="1200" dirty="0" err="1"/>
              <a:t>룰렛</a:t>
            </a:r>
            <a:r>
              <a:rPr lang="ko-KR" altLang="en-US" sz="1200" dirty="0"/>
              <a:t> 기회 추가 제공</a:t>
            </a:r>
            <a:endParaRPr lang="en-US" altLang="ko-KR" sz="1200" dirty="0"/>
          </a:p>
          <a:p>
            <a:endParaRPr lang="ko-KR" altLang="en-US" sz="1200" dirty="0"/>
          </a:p>
        </p:txBody>
      </p:sp>
      <p:pic>
        <p:nvPicPr>
          <p:cNvPr id="2060" name="Picture 12" descr="한국후지필름, 롯데 사직야구장서 '포토카드·부스' 사업 운영">
            <a:extLst>
              <a:ext uri="{FF2B5EF4-FFF2-40B4-BE49-F238E27FC236}">
                <a16:creationId xmlns:a16="http://schemas.microsoft.com/office/drawing/2014/main" id="{86408C4B-BDF5-CF90-35CF-477C4687D7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92" r="29947"/>
          <a:stretch>
            <a:fillRect/>
          </a:stretch>
        </p:blipFill>
        <p:spPr bwMode="auto">
          <a:xfrm>
            <a:off x="205908" y="2696596"/>
            <a:ext cx="1780833" cy="2739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70930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</TotalTime>
  <Words>228</Words>
  <Application>Microsoft Office PowerPoint</Application>
  <PresentationFormat>와이드스크린</PresentationFormat>
  <Paragraphs>40</Paragraphs>
  <Slides>2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3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</vt:i4>
      </vt:variant>
    </vt:vector>
  </HeadingPairs>
  <TitlesOfParts>
    <vt:vector size="7" baseType="lpstr">
      <vt:lpstr>맑은 고딕</vt:lpstr>
      <vt:lpstr>Arial</vt:lpstr>
      <vt:lpstr>Wingdings</vt:lpstr>
      <vt:lpstr>Office 테마</vt:lpstr>
      <vt:lpstr>think-cell 슬라이드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이빈</dc:creator>
  <cp:lastModifiedBy>이빈</cp:lastModifiedBy>
  <cp:revision>4</cp:revision>
  <dcterms:created xsi:type="dcterms:W3CDTF">2025-06-06T20:01:45Z</dcterms:created>
  <dcterms:modified xsi:type="dcterms:W3CDTF">2025-06-06T20:32:06Z</dcterms:modified>
</cp:coreProperties>
</file>